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260" r:id="rId3"/>
    <p:sldId id="293" r:id="rId4"/>
    <p:sldId id="294" r:id="rId5"/>
    <p:sldId id="375" r:id="rId6"/>
    <p:sldId id="376" r:id="rId7"/>
    <p:sldId id="259" r:id="rId8"/>
    <p:sldId id="379" r:id="rId9"/>
    <p:sldId id="378" r:id="rId10"/>
    <p:sldId id="380" r:id="rId11"/>
    <p:sldId id="381" r:id="rId12"/>
    <p:sldId id="382" r:id="rId13"/>
    <p:sldId id="295" r:id="rId14"/>
    <p:sldId id="383" r:id="rId15"/>
    <p:sldId id="267" r:id="rId16"/>
  </p:sldIdLst>
  <p:sldSz cx="12193588" cy="6858000"/>
  <p:notesSz cx="7559675" cy="10691813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56"/>
            <p14:sldId id="260"/>
            <p14:sldId id="293"/>
            <p14:sldId id="294"/>
            <p14:sldId id="375"/>
            <p14:sldId id="376"/>
            <p14:sldId id="259"/>
            <p14:sldId id="379"/>
            <p14:sldId id="378"/>
            <p14:sldId id="380"/>
            <p14:sldId id="381"/>
            <p14:sldId id="382"/>
            <p14:sldId id="295"/>
            <p14:sldId id="383"/>
            <p14:sldId id="267"/>
          </p14:sldIdLst>
        </p14:section>
        <p14:section name="Weitere Folien" id="{DB60F583-B12D-4121-8BAE-4EFC26CACC81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A08570"/>
    <a:srgbClr val="1D8748"/>
    <a:srgbClr val="660E7A"/>
    <a:srgbClr val="010180"/>
    <a:srgbClr val="85850C"/>
    <a:srgbClr val="000000"/>
    <a:srgbClr val="3C3C3C"/>
    <a:srgbClr val="E4E3DF"/>
    <a:srgbClr val="4832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1425" autoAdjust="0"/>
    <p:restoredTop sz="91325"/>
  </p:normalViewPr>
  <p:slideViewPr>
    <p:cSldViewPr snapToGrid="0" snapToObjects="1" showGuides="1">
      <p:cViewPr>
        <p:scale>
          <a:sx n="70" d="100"/>
          <a:sy n="70" d="100"/>
        </p:scale>
        <p:origin x="168" y="8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8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#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.xml"/><Relationship Id="rId7" Type="http://schemas.openxmlformats.org/officeDocument/2006/relationships/image" Target="../media/image6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7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5.jp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2400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pic>
        <p:nvPicPr>
          <p:cNvPr id="8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0ED91E6F-6487-4B37-8370-5E94CD53103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24000"/>
            <a:ext cx="12193588" cy="2740785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412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02A2FC3-8F7D-4427-BDC0-9534A9C86B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192" t="9775" r="9776"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14BCCB-E2E0-4EE9-A123-ABB6E55B6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4794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30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351FC51-FDCD-41F5-8AF4-C9381B15D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326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chtiger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und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 heller Farb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" name="think-cell Slide" r:id="rId17" imgW="384" imgH="385" progId="TCLayout.ActiveDocument.1">
                  <p:embed/>
                </p:oleObj>
              </mc:Choice>
              <mc:Fallback>
                <p:oleObj name="think-cell Slide" r:id="rId17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1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1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9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9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0.jp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://maven.apache.org/plugins/maven-compiler-plugin/examples/set-compiler-source-and-target.html" TargetMode="External"/><Relationship Id="rId3" Type="http://schemas.openxmlformats.org/officeDocument/2006/relationships/tags" Target="../tags/tag39.xml"/><Relationship Id="rId7" Type="http://schemas.openxmlformats.org/officeDocument/2006/relationships/hyperlink" Target="http://maven.apache.org/plugins/maven-compiler-plugin/" TargetMode="Externa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tags" Target="../tags/tag43.xml"/><Relationship Id="rId7" Type="http://schemas.openxmlformats.org/officeDocument/2006/relationships/hyperlink" Target="http://maven.apache.org/plugins/maven-compiler-plugin/" TargetMode="Externa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0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9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OM XML </a:t>
            </a:r>
            <a:r>
              <a:rPr lang="de-DE" dirty="0" err="1"/>
              <a:t>dependency</a:t>
            </a:r>
            <a:r>
              <a:rPr lang="de-DE" dirty="0"/>
              <a:t> Test </a:t>
            </a:r>
            <a:r>
              <a:rPr lang="de-DE" dirty="0" err="1"/>
              <a:t>ng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470BBAA-106F-7044-B9FB-F50C92C6A824}"/>
              </a:ext>
            </a:extLst>
          </p:cNvPr>
          <p:cNvSpPr/>
          <p:nvPr/>
        </p:nvSpPr>
        <p:spPr>
          <a:xfrm>
            <a:off x="636778" y="2836176"/>
            <a:ext cx="815975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pendencies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endParaRPr lang="en-GB" sz="2000" dirty="0">
              <a:solidFill>
                <a:srgbClr val="00808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pendency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rg.testng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estng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7.1.0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pendency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b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pendencies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0673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OM XML </a:t>
            </a:r>
            <a:r>
              <a:rPr lang="de-DE" dirty="0" err="1"/>
              <a:t>dependency</a:t>
            </a:r>
            <a:r>
              <a:rPr lang="de-DE" dirty="0"/>
              <a:t> </a:t>
            </a:r>
            <a:r>
              <a:rPr lang="de-DE" dirty="0" err="1"/>
              <a:t>selenium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FEC993E-874A-9D46-A64A-30ACD8E79E27}"/>
              </a:ext>
            </a:extLst>
          </p:cNvPr>
          <p:cNvSpPr/>
          <p:nvPr/>
        </p:nvSpPr>
        <p:spPr>
          <a:xfrm>
            <a:off x="947738" y="3078220"/>
            <a:ext cx="836085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pendency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b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pendency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rg.seleniumhq.selenium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lenium-java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3.141.59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</a:t>
            </a:r>
            <a:r>
              <a:rPr lang="en-GB" sz="2000" u="sng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ndency</a:t>
            </a:r>
            <a:r>
              <a:rPr lang="en-GB" sz="2000" u="sng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pendencies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93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Webpage </a:t>
            </a:r>
            <a:r>
              <a:rPr lang="de-DE" dirty="0" err="1"/>
              <a:t>under</a:t>
            </a:r>
            <a:r>
              <a:rPr lang="de-DE" dirty="0"/>
              <a:t> </a:t>
            </a:r>
            <a:r>
              <a:rPr lang="de-DE" dirty="0" err="1"/>
              <a:t>test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4" name="Picture 3" descr="A young girl taking a selfie&#10;&#10;Description automatically generated">
            <a:extLst>
              <a:ext uri="{FF2B5EF4-FFF2-40B4-BE49-F238E27FC236}">
                <a16:creationId xmlns:a16="http://schemas.microsoft.com/office/drawing/2014/main" id="{F463F23D-29EE-9A47-8C39-8BD34D7E59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9831" y="3723418"/>
            <a:ext cx="3261557" cy="227622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D0DC107-46F3-9345-BC95-F5D26CD3E8D9}"/>
              </a:ext>
            </a:extLst>
          </p:cNvPr>
          <p:cNvSpPr/>
          <p:nvPr/>
        </p:nvSpPr>
        <p:spPr>
          <a:xfrm>
            <a:off x="947738" y="3723418"/>
            <a:ext cx="6506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DE" sz="2400" dirty="0">
                <a:solidFill>
                  <a:srgbClr val="0432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https://the-internet.herokuapp.co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5E02807-D0C7-784C-A9AE-41CB09902514}"/>
              </a:ext>
            </a:extLst>
          </p:cNvPr>
          <p:cNvSpPr txBox="1"/>
          <p:nvPr/>
        </p:nvSpPr>
        <p:spPr>
          <a:xfrm>
            <a:off x="947738" y="4684481"/>
            <a:ext cx="32117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400" dirty="0">
                <a:solidFill>
                  <a:schemeClr val="tx1"/>
                </a:solidFill>
              </a:rPr>
              <a:t>Form Authentication</a:t>
            </a:r>
          </a:p>
        </p:txBody>
      </p:sp>
    </p:spTree>
    <p:extLst>
      <p:ext uri="{BB962C8B-B14F-4D97-AF65-F5344CB8AC3E}">
        <p14:creationId xmlns:p14="http://schemas.microsoft.com/office/powerpoint/2010/main" val="15812691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Test star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29304" y="3033713"/>
            <a:ext cx="2954411" cy="1081087"/>
          </a:xfrm>
        </p:spPr>
        <p:txBody>
          <a:bodyPr/>
          <a:lstStyle/>
          <a:p>
            <a:pPr lvl="0"/>
            <a:r>
              <a:rPr lang="de-DE" sz="2400" dirty="0" err="1"/>
              <a:t>Console</a:t>
            </a:r>
            <a:endParaRPr lang="de-DE" sz="2400" dirty="0"/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 err="1"/>
              <a:t>mvn</a:t>
            </a:r>
            <a:r>
              <a:rPr lang="de-DE" dirty="0"/>
              <a:t> clean Test</a:t>
            </a:r>
          </a:p>
          <a:p>
            <a:pPr lvl="0"/>
            <a:endParaRPr lang="de-DE" dirty="0"/>
          </a:p>
          <a:p>
            <a:pPr marL="285750" lvl="0" indent="-285750"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7578804-6B33-8145-A210-20F343F4D47B}"/>
              </a:ext>
            </a:extLst>
          </p:cNvPr>
          <p:cNvSpPr txBox="1">
            <a:spLocks/>
          </p:cNvSpPr>
          <p:nvPr/>
        </p:nvSpPr>
        <p:spPr>
          <a:xfrm>
            <a:off x="1129304" y="4387755"/>
            <a:ext cx="5618569" cy="2243644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kern="0" dirty="0"/>
              <a:t>Eclips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/>
              <a:t>Run As Configuration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/>
              <a:t>Maven Build =&gt; Name =  </a:t>
            </a:r>
            <a:r>
              <a:rPr lang="en-GB" kern="0" dirty="0" err="1"/>
              <a:t>MyTest</a:t>
            </a:r>
            <a:endParaRPr lang="en-GB" kern="0" dirty="0"/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/>
              <a:t>Base Directory =&gt; </a:t>
            </a:r>
            <a:r>
              <a:rPr lang="en-GB" kern="0" dirty="0" err="1"/>
              <a:t>aktuelle</a:t>
            </a:r>
            <a:r>
              <a:rPr lang="en-GB" kern="0" dirty="0"/>
              <a:t> Workspac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/>
              <a:t>Goal :  -</a:t>
            </a:r>
            <a:r>
              <a:rPr lang="en-GB" kern="0" dirty="0" err="1"/>
              <a:t>Dtest</a:t>
            </a:r>
            <a:r>
              <a:rPr lang="en-GB" kern="0" dirty="0"/>
              <a:t> = </a:t>
            </a:r>
            <a:r>
              <a:rPr lang="en-GB" kern="0" dirty="0" err="1"/>
              <a:t>MyTestClassName</a:t>
            </a:r>
            <a:r>
              <a:rPr lang="en-GB" kern="0" dirty="0"/>
              <a:t> clean test</a:t>
            </a:r>
          </a:p>
          <a:p>
            <a:pPr marL="285750" indent="-285750">
              <a:buFont typeface="Wingdings" pitchFamily="2" charset="2"/>
              <a:buChar char="q"/>
            </a:pPr>
            <a:endParaRPr lang="en-GB" kern="0" dirty="0"/>
          </a:p>
          <a:p>
            <a:endParaRPr lang="en-GB" kern="0" dirty="0"/>
          </a:p>
          <a:p>
            <a:pPr marL="285750" indent="-285750">
              <a:buFont typeface="Wingdings" pitchFamily="2" charset="2"/>
              <a:buChar char="§"/>
            </a:pP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26043744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6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locators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4" name="Picture 3" descr="A young girl taking a selfie&#10;&#10;Description automatically generated">
            <a:extLst>
              <a:ext uri="{FF2B5EF4-FFF2-40B4-BE49-F238E27FC236}">
                <a16:creationId xmlns:a16="http://schemas.microsoft.com/office/drawing/2014/main" id="{F463F23D-29EE-9A47-8C39-8BD34D7E59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741" y="3286054"/>
            <a:ext cx="3486624" cy="243329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5E02807-D0C7-784C-A9AE-41CB09902514}"/>
              </a:ext>
            </a:extLst>
          </p:cNvPr>
          <p:cNvSpPr txBox="1"/>
          <p:nvPr/>
        </p:nvSpPr>
        <p:spPr>
          <a:xfrm>
            <a:off x="947738" y="2776714"/>
            <a:ext cx="406317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400" dirty="0">
                <a:solidFill>
                  <a:schemeClr val="tx1"/>
                </a:solidFill>
              </a:rPr>
              <a:t>Idntifier</a:t>
            </a:r>
          </a:p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GB" sz="2400" dirty="0"/>
              <a:t>I</a:t>
            </a:r>
            <a:r>
              <a:rPr lang="en-DE" sz="2400" dirty="0"/>
              <a:t>d</a:t>
            </a:r>
          </a:p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GB" sz="2400" dirty="0">
                <a:solidFill>
                  <a:schemeClr val="tx1"/>
                </a:solidFill>
              </a:rPr>
              <a:t>N</a:t>
            </a:r>
            <a:r>
              <a:rPr lang="en-DE" sz="2400" dirty="0">
                <a:solidFill>
                  <a:schemeClr val="tx1"/>
                </a:solidFill>
              </a:rPr>
              <a:t>ame</a:t>
            </a:r>
          </a:p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GB" sz="2400" dirty="0"/>
              <a:t>L</a:t>
            </a:r>
            <a:r>
              <a:rPr lang="en-DE" sz="2400" dirty="0"/>
              <a:t>inke</a:t>
            </a:r>
          </a:p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400" dirty="0">
                <a:solidFill>
                  <a:schemeClr val="tx1"/>
                </a:solidFill>
              </a:rPr>
              <a:t>DOM</a:t>
            </a:r>
          </a:p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400" dirty="0">
                <a:solidFill>
                  <a:schemeClr val="tx1"/>
                </a:solidFill>
              </a:rPr>
              <a:t>X</a:t>
            </a:r>
            <a:r>
              <a:rPr lang="en-GB" sz="2400" dirty="0">
                <a:solidFill>
                  <a:schemeClr val="tx1"/>
                </a:solidFill>
              </a:rPr>
              <a:t>p</a:t>
            </a:r>
            <a:r>
              <a:rPr lang="en-DE" sz="2400" dirty="0">
                <a:solidFill>
                  <a:schemeClr val="tx1"/>
                </a:solidFill>
              </a:rPr>
              <a:t>ath</a:t>
            </a:r>
          </a:p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400" dirty="0"/>
              <a:t>CSS</a:t>
            </a:r>
          </a:p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400" dirty="0">
                <a:solidFill>
                  <a:schemeClr val="tx1"/>
                </a:solidFill>
              </a:rPr>
              <a:t>UI-Eleme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E334-C4DC-5D40-A429-ABA85D17CC27}"/>
              </a:ext>
            </a:extLst>
          </p:cNvPr>
          <p:cNvSpPr txBox="1"/>
          <p:nvPr/>
        </p:nvSpPr>
        <p:spPr>
          <a:xfrm>
            <a:off x="900517" y="5947895"/>
            <a:ext cx="51780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400" dirty="0">
                <a:solidFill>
                  <a:srgbClr val="FF0000"/>
                </a:solidFill>
              </a:rPr>
              <a:t>Chrome rechte Maustaste: Inspect</a:t>
            </a:r>
          </a:p>
        </p:txBody>
      </p:sp>
    </p:spTree>
    <p:extLst>
      <p:ext uri="{BB962C8B-B14F-4D97-AF65-F5344CB8AC3E}">
        <p14:creationId xmlns:p14="http://schemas.microsoft.com/office/powerpoint/2010/main" val="17888037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60922-2240-407A-ADF0-28C1D8F324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12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3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close up of a flower&#10;&#10;Description automatically generated">
            <a:extLst>
              <a:ext uri="{FF2B5EF4-FFF2-40B4-BE49-F238E27FC236}">
                <a16:creationId xmlns:a16="http://schemas.microsoft.com/office/drawing/2014/main" id="{1ECD4EEA-364B-C143-9A39-A36675C107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246856"/>
            <a:ext cx="3048794" cy="3048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277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2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288" y="3575194"/>
            <a:ext cx="6500812" cy="430887"/>
          </a:xfrm>
        </p:spPr>
        <p:txBody>
          <a:bodyPr/>
          <a:lstStyle/>
          <a:p>
            <a:pPr lvl="0"/>
            <a:r>
              <a:rPr lang="de-DE" sz="2800" b="1" dirty="0" err="1">
                <a:solidFill>
                  <a:schemeClr val="tx1"/>
                </a:solidFill>
              </a:rPr>
              <a:t>Selenium</a:t>
            </a:r>
            <a:r>
              <a:rPr lang="de-DE" sz="2800" b="1" dirty="0">
                <a:solidFill>
                  <a:schemeClr val="tx1"/>
                </a:solidFill>
              </a:rPr>
              <a:t> </a:t>
            </a:r>
            <a:r>
              <a:rPr lang="de-DE" sz="2800" b="1" dirty="0" err="1">
                <a:solidFill>
                  <a:schemeClr val="tx1"/>
                </a:solidFill>
              </a:rPr>
              <a:t>grundlagen</a:t>
            </a:r>
            <a:endParaRPr lang="de-DE" sz="2800" b="1" dirty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F0222616-9CF7-0344-BF4A-D16D37A251B8}"/>
              </a:ext>
            </a:extLst>
          </p:cNvPr>
          <p:cNvSpPr txBox="1">
            <a:spLocks/>
          </p:cNvSpPr>
          <p:nvPr/>
        </p:nvSpPr>
        <p:spPr>
          <a:xfrm>
            <a:off x="776288" y="4425181"/>
            <a:ext cx="650081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GB" kern="0" dirty="0" err="1"/>
              <a:t>allaithy</a:t>
            </a:r>
            <a:r>
              <a:rPr lang="en-GB" kern="0" dirty="0"/>
              <a:t> </a:t>
            </a:r>
            <a:r>
              <a:rPr lang="en-GB" kern="0" dirty="0" err="1"/>
              <a:t>raed</a:t>
            </a:r>
            <a:r>
              <a:rPr lang="en-GB" kern="0" dirty="0"/>
              <a:t> @coding-</a:t>
            </a:r>
            <a:r>
              <a:rPr lang="en-GB" kern="0" dirty="0" err="1"/>
              <a:t>akademie</a:t>
            </a: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27810549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1120" y="3056979"/>
            <a:ext cx="4755674" cy="384721"/>
          </a:xfrm>
        </p:spPr>
        <p:txBody>
          <a:bodyPr/>
          <a:lstStyle/>
          <a:p>
            <a:pPr algn="ctr"/>
            <a:r>
              <a:rPr lang="de-DE" dirty="0"/>
              <a:t>Was ist </a:t>
            </a:r>
            <a:r>
              <a:rPr lang="de-DE" dirty="0" err="1"/>
              <a:t>selenium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9614" y="3703141"/>
            <a:ext cx="5075636" cy="1818428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Test Framework für Webseiten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Inhalt &amp; Interaktionen auf einer Webseit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Sprachunabhängig: Java, Python, C#..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Braucht ein </a:t>
            </a:r>
            <a:r>
              <a:rPr lang="de-DE" dirty="0" err="1"/>
              <a:t>Testing</a:t>
            </a:r>
            <a:r>
              <a:rPr lang="de-DE" dirty="0"/>
              <a:t> Framework: </a:t>
            </a:r>
            <a:r>
              <a:rPr lang="de-DE" dirty="0" err="1"/>
              <a:t>Junit</a:t>
            </a:r>
            <a:r>
              <a:rPr lang="de-DE" dirty="0"/>
              <a:t>, </a:t>
            </a:r>
            <a:r>
              <a:rPr lang="de-DE" dirty="0" err="1"/>
              <a:t>TestNG</a:t>
            </a:r>
            <a:endParaRPr lang="de-DE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7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DD872488-2747-F048-87EE-1912CA55BB1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175" y="2965643"/>
            <a:ext cx="5075636" cy="1242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4822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610" y="3059668"/>
            <a:ext cx="3996018" cy="369332"/>
          </a:xfrm>
        </p:spPr>
        <p:txBody>
          <a:bodyPr/>
          <a:lstStyle/>
          <a:p>
            <a:pPr algn="ctr"/>
            <a:r>
              <a:rPr lang="de-DE" sz="2400" dirty="0" err="1"/>
              <a:t>Selenium</a:t>
            </a:r>
            <a:r>
              <a:rPr lang="de-DE" sz="2400" dirty="0"/>
              <a:t> </a:t>
            </a:r>
            <a:r>
              <a:rPr lang="de-DE" sz="2400" dirty="0" err="1"/>
              <a:t>projekt</a:t>
            </a:r>
            <a:endParaRPr lang="de-DE" sz="2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2100" y="3916767"/>
            <a:ext cx="3805038" cy="1246845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dirty="0" err="1"/>
              <a:t>Maven</a:t>
            </a:r>
            <a:r>
              <a:rPr lang="de-DE" dirty="0"/>
              <a:t> Projekt =&gt; Simpl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 err="1"/>
              <a:t>GroupId</a:t>
            </a:r>
            <a:r>
              <a:rPr lang="de-DE" dirty="0"/>
              <a:t>: </a:t>
            </a:r>
            <a:r>
              <a:rPr lang="de-DE" dirty="0" err="1"/>
              <a:t>com.bmw</a:t>
            </a:r>
            <a:endParaRPr lang="de-DE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dirty="0" err="1"/>
              <a:t>Artifica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: </a:t>
            </a:r>
            <a:r>
              <a:rPr lang="de-DE" dirty="0" err="1"/>
              <a:t>selenium</a:t>
            </a:r>
            <a:r>
              <a:rPr lang="de-DE" dirty="0"/>
              <a:t>-demo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Picture 9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5DFFF162-0D2B-2F44-B146-F5A77B392E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652" y="3630426"/>
            <a:ext cx="5075636" cy="1242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516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7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610" y="3059668"/>
            <a:ext cx="3996018" cy="369332"/>
          </a:xfrm>
        </p:spPr>
        <p:txBody>
          <a:bodyPr/>
          <a:lstStyle/>
          <a:p>
            <a:pPr algn="ctr"/>
            <a:r>
              <a:rPr lang="de-DE" sz="2400" dirty="0" err="1"/>
              <a:t>Selenum</a:t>
            </a:r>
            <a:r>
              <a:rPr lang="de-DE" sz="2400" dirty="0"/>
              <a:t> </a:t>
            </a:r>
            <a:r>
              <a:rPr lang="de-DE" sz="2400" dirty="0" err="1"/>
              <a:t>driver</a:t>
            </a:r>
            <a:endParaRPr lang="de-DE" sz="2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2100" y="3916767"/>
            <a:ext cx="3805038" cy="1246845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dirty="0" err="1"/>
              <a:t>Selenium.dev</a:t>
            </a:r>
            <a:endParaRPr lang="de-DE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Downloads =&gt; Browser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Download Driver für Chrome, etc.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7" descr="A picture containing light, table, traffic, view&#10;&#10;Description automatically generated">
            <a:extLst>
              <a:ext uri="{FF2B5EF4-FFF2-40B4-BE49-F238E27FC236}">
                <a16:creationId xmlns:a16="http://schemas.microsoft.com/office/drawing/2014/main" id="{39B799E6-7970-AF4A-A386-398968D2F0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6989" y="2297585"/>
            <a:ext cx="5757090" cy="3238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8031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610" y="3059668"/>
            <a:ext cx="3996018" cy="369332"/>
          </a:xfrm>
        </p:spPr>
        <p:txBody>
          <a:bodyPr/>
          <a:lstStyle/>
          <a:p>
            <a:pPr algn="ctr"/>
            <a:r>
              <a:rPr lang="de-DE" sz="2400" dirty="0" err="1"/>
              <a:t>Pom</a:t>
            </a:r>
            <a:r>
              <a:rPr lang="de-DE" sz="2400" dirty="0"/>
              <a:t> </a:t>
            </a:r>
            <a:r>
              <a:rPr lang="de-DE" sz="2400" dirty="0" err="1"/>
              <a:t>config</a:t>
            </a:r>
            <a:r>
              <a:rPr lang="de-DE" sz="2400" dirty="0"/>
              <a:t> </a:t>
            </a:r>
            <a:r>
              <a:rPr lang="de-DE" sz="2400" dirty="0" err="1"/>
              <a:t>plugin</a:t>
            </a:r>
            <a:endParaRPr lang="de-DE" sz="2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2099" y="3916767"/>
            <a:ext cx="6638886" cy="1246845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dirty="0">
                <a:hlinkClick r:id="rId7"/>
              </a:rPr>
              <a:t>http://maven.apache.org/plugins/maven-compiler-plugin/</a:t>
            </a:r>
            <a:endParaRPr lang="de-DE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dirty="0" err="1"/>
              <a:t>Examples</a:t>
            </a:r>
            <a:r>
              <a:rPr lang="de-DE" dirty="0"/>
              <a:t>: </a:t>
            </a:r>
            <a:r>
              <a:rPr lang="en-GB" dirty="0">
                <a:hlinkClick r:id="rId8"/>
              </a:rPr>
              <a:t>Compile Using -source and -target javac Options</a:t>
            </a:r>
            <a:endParaRPr lang="en-GB" dirty="0"/>
          </a:p>
          <a:p>
            <a:pPr marL="285750" indent="-285750">
              <a:buFont typeface="Wingdings" pitchFamily="2" charset="2"/>
              <a:buChar char="q"/>
            </a:pPr>
            <a:endParaRPr lang="en-GB" dirty="0"/>
          </a:p>
          <a:p>
            <a:pPr marL="285750" indent="-285750">
              <a:buFont typeface="Wingdings" pitchFamily="2" charset="2"/>
              <a:buChar char="q"/>
            </a:pPr>
            <a:endParaRPr lang="de-DE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7" descr="A picture containing light, table, traffic, view&#10;&#10;Description automatically generated">
            <a:extLst>
              <a:ext uri="{FF2B5EF4-FFF2-40B4-BE49-F238E27FC236}">
                <a16:creationId xmlns:a16="http://schemas.microsoft.com/office/drawing/2014/main" id="{39B799E6-7970-AF4A-A386-398968D2F0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5211" y="3059668"/>
            <a:ext cx="3438868" cy="193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87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OM XML </a:t>
            </a:r>
            <a:r>
              <a:rPr lang="de-DE" dirty="0" err="1"/>
              <a:t>Maven</a:t>
            </a:r>
            <a:r>
              <a:rPr lang="de-DE" dirty="0"/>
              <a:t> </a:t>
            </a:r>
            <a:r>
              <a:rPr lang="de-DE" dirty="0" err="1"/>
              <a:t>plugin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37F689-B83B-0042-8C09-9AC2F9C03AD6}"/>
              </a:ext>
            </a:extLst>
          </p:cNvPr>
          <p:cNvSpPr/>
          <p:nvPr/>
        </p:nvSpPr>
        <p:spPr>
          <a:xfrm>
            <a:off x="805688" y="2649617"/>
            <a:ext cx="9618472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uil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lugins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lugi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rg.apache.maven.plugins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aven-compiler-plugi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3.8.1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nfigurat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ource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1.8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ource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arget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1.8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arget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nfigurat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lugi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lugins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uil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0381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610" y="3059668"/>
            <a:ext cx="6189486" cy="738664"/>
          </a:xfrm>
        </p:spPr>
        <p:txBody>
          <a:bodyPr/>
          <a:lstStyle/>
          <a:p>
            <a:pPr algn="ctr"/>
            <a:r>
              <a:rPr lang="de-DE" sz="2400" dirty="0" err="1"/>
              <a:t>Pom</a:t>
            </a:r>
            <a:r>
              <a:rPr lang="de-DE" sz="2400" dirty="0"/>
              <a:t> </a:t>
            </a:r>
            <a:r>
              <a:rPr lang="de-DE" sz="2400" dirty="0" err="1"/>
              <a:t>config</a:t>
            </a:r>
            <a:r>
              <a:rPr lang="de-DE" sz="2400" dirty="0"/>
              <a:t> </a:t>
            </a:r>
            <a:r>
              <a:rPr lang="de-DE" sz="2400" dirty="0" err="1"/>
              <a:t>maven</a:t>
            </a:r>
            <a:r>
              <a:rPr lang="de-DE" sz="2400" dirty="0"/>
              <a:t> </a:t>
            </a:r>
            <a:r>
              <a:rPr lang="de-DE" sz="2400" dirty="0" err="1"/>
              <a:t>surefire</a:t>
            </a:r>
            <a:r>
              <a:rPr lang="de-DE" sz="2400" dirty="0"/>
              <a:t> </a:t>
            </a:r>
            <a:r>
              <a:rPr lang="de-DE" sz="2400" dirty="0" err="1"/>
              <a:t>plugin</a:t>
            </a:r>
            <a:endParaRPr lang="de-DE" sz="2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2099" y="3916767"/>
            <a:ext cx="6638886" cy="1246845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dirty="0">
                <a:hlinkClick r:id="rId7"/>
              </a:rPr>
              <a:t>http://maven.apache.org/plugins/maven-compiler-plugin/</a:t>
            </a:r>
            <a:endParaRPr lang="de-DE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dirty="0" err="1"/>
              <a:t>Examples</a:t>
            </a:r>
            <a:r>
              <a:rPr lang="de-DE" dirty="0"/>
              <a:t>: </a:t>
            </a:r>
            <a:r>
              <a:rPr lang="en-GB" dirty="0"/>
              <a:t>TestNG, </a:t>
            </a:r>
            <a:r>
              <a:rPr lang="en-GB" dirty="0" err="1"/>
              <a:t>oder</a:t>
            </a:r>
            <a:r>
              <a:rPr lang="en-GB" dirty="0"/>
              <a:t> Junit </a:t>
            </a:r>
            <a:r>
              <a:rPr lang="en-GB" dirty="0" err="1"/>
              <a:t>nehmen</a:t>
            </a:r>
            <a:endParaRPr lang="en-GB" dirty="0"/>
          </a:p>
          <a:p>
            <a:pPr marL="285750" indent="-285750">
              <a:buFont typeface="Wingdings" pitchFamily="2" charset="2"/>
              <a:buChar char="q"/>
            </a:pPr>
            <a:endParaRPr lang="en-GB" dirty="0"/>
          </a:p>
          <a:p>
            <a:pPr marL="285750" indent="-285750">
              <a:buFont typeface="Wingdings" pitchFamily="2" charset="2"/>
              <a:buChar char="q"/>
            </a:pPr>
            <a:endParaRPr lang="de-DE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7" descr="A picture containing light, table, traffic, view&#10;&#10;Description automatically generated">
            <a:extLst>
              <a:ext uri="{FF2B5EF4-FFF2-40B4-BE49-F238E27FC236}">
                <a16:creationId xmlns:a16="http://schemas.microsoft.com/office/drawing/2014/main" id="{39B799E6-7970-AF4A-A386-398968D2F0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5211" y="3059668"/>
            <a:ext cx="3438868" cy="193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432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OM XML </a:t>
            </a:r>
            <a:r>
              <a:rPr lang="de-DE" dirty="0" err="1"/>
              <a:t>Testng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FA5B55A-C2F5-FF44-B4B7-CEBA37AD9EF7}"/>
              </a:ext>
            </a:extLst>
          </p:cNvPr>
          <p:cNvSpPr/>
          <p:nvPr/>
        </p:nvSpPr>
        <p:spPr>
          <a:xfrm>
            <a:off x="918528" y="3039005"/>
            <a:ext cx="8857488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uil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lugins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lugi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rg.apache.maven.plugins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aven-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refir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plugi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3.0.0-M4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!-- &lt;configuration&gt; &lt;</a:t>
            </a:r>
            <a:r>
              <a:rPr lang="en-GB" sz="2000" dirty="0" err="1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iteXmlFiles</a:t>
            </a:r>
            <a:r>
              <a:rPr lang="en-GB" sz="2000" dirty="0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 &lt;</a:t>
            </a:r>
            <a:r>
              <a:rPr lang="en-GB" sz="2000" dirty="0" err="1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iteXmlFile</a:t>
            </a:r>
            <a:r>
              <a:rPr lang="en-GB" sz="2000" dirty="0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estng.xml</a:t>
            </a:r>
            <a:r>
              <a:rPr lang="en-GB" sz="2000" dirty="0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iteXmlFile</a:t>
            </a:r>
            <a:r>
              <a:rPr lang="en-GB" sz="2000" dirty="0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 </a:t>
            </a:r>
          </a:p>
          <a:p>
            <a:r>
              <a:rPr lang="en-GB" sz="2000" dirty="0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iteXmlFiles</a:t>
            </a:r>
            <a:r>
              <a:rPr lang="en-GB" sz="2000" dirty="0">
                <a:solidFill>
                  <a:srgbClr val="3F5FB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 &lt;/configuration&gt; --&gt;</a:t>
            </a: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lugi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634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82</TotalTime>
  <Words>496</Words>
  <Application>Microsoft Macintosh PowerPoint</Application>
  <PresentationFormat>Custom</PresentationFormat>
  <Paragraphs>102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Menlo</vt:lpstr>
      <vt:lpstr>Symbol</vt:lpstr>
      <vt:lpstr>Times New Roman</vt:lpstr>
      <vt:lpstr>Wingdings</vt:lpstr>
      <vt:lpstr>2019 @ CAM Master</vt:lpstr>
      <vt:lpstr>think-cell Slide</vt:lpstr>
      <vt:lpstr>think-cell Folie</vt:lpstr>
      <vt:lpstr>PowerPoint Presentation</vt:lpstr>
      <vt:lpstr>Selenium grundlagen</vt:lpstr>
      <vt:lpstr>Was ist selenium</vt:lpstr>
      <vt:lpstr>Selenium projekt</vt:lpstr>
      <vt:lpstr>Selenum driver</vt:lpstr>
      <vt:lpstr>Pom config plugin</vt:lpstr>
      <vt:lpstr>POM XML Maven plugin</vt:lpstr>
      <vt:lpstr>Pom config maven surefire plugin</vt:lpstr>
      <vt:lpstr>POM XML Testng</vt:lpstr>
      <vt:lpstr>POM XML dependency Test ng</vt:lpstr>
      <vt:lpstr>POM XML dependency selenium</vt:lpstr>
      <vt:lpstr>Webpage under test</vt:lpstr>
      <vt:lpstr>Test starten</vt:lpstr>
      <vt:lpstr>locator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Allaithy Raed</cp:lastModifiedBy>
  <cp:revision>254</cp:revision>
  <dcterms:created xsi:type="dcterms:W3CDTF">2019-07-01T16:47:04Z</dcterms:created>
  <dcterms:modified xsi:type="dcterms:W3CDTF">2020-04-30T06:05:50Z</dcterms:modified>
</cp:coreProperties>
</file>